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1311" r:id="rId2"/>
    <p:sldId id="1265" r:id="rId3"/>
    <p:sldId id="1312" r:id="rId4"/>
    <p:sldId id="1315" r:id="rId5"/>
    <p:sldId id="1348" r:id="rId6"/>
    <p:sldId id="1338" r:id="rId7"/>
    <p:sldId id="1330" r:id="rId8"/>
    <p:sldId id="1339" r:id="rId9"/>
    <p:sldId id="1340" r:id="rId10"/>
    <p:sldId id="1349" r:id="rId11"/>
    <p:sldId id="1341" r:id="rId12"/>
    <p:sldId id="1342" r:id="rId13"/>
    <p:sldId id="1343" r:id="rId14"/>
    <p:sldId id="1344" r:id="rId15"/>
    <p:sldId id="1345" r:id="rId16"/>
    <p:sldId id="1346" r:id="rId17"/>
    <p:sldId id="1347" r:id="rId18"/>
  </p:sldIdLst>
  <p:sldSz cx="9144000" cy="6858000" type="screen4x3"/>
  <p:notesSz cx="6797675" cy="9926638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9B"/>
    <a:srgbClr val="186B71"/>
    <a:srgbClr val="FFFFFF"/>
    <a:srgbClr val="F2F2F2"/>
    <a:srgbClr val="BFE5E2"/>
    <a:srgbClr val="983C3E"/>
    <a:srgbClr val="FFFF99"/>
    <a:srgbClr val="ECF2F8"/>
    <a:srgbClr val="E7EFED"/>
    <a:srgbClr val="CBD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77" autoAdjust="0"/>
    <p:restoredTop sz="94764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1400" y="192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03.05.19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03.05.19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30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5102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2879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890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58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8490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244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88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378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20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0050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03.05.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03.05.19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emf"/><Relationship Id="rId4" Type="http://schemas.openxmlformats.org/officeDocument/2006/relationships/image" Target="../media/image11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1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tiff"/><Relationship Id="rId4" Type="http://schemas.openxmlformats.org/officeDocument/2006/relationships/image" Target="../media/image10.tif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statisticscommunicated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98552"/>
            <a:ext cx="4968580" cy="5233260"/>
          </a:xfrm>
        </p:spPr>
        <p:txBody>
          <a:bodyPr/>
          <a:lstStyle/>
          <a:p>
            <a:pPr marL="285750" lvl="2" indent="-28575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SzTx/>
              <a:buFont typeface="Arial" panose="020B0604020202020204" pitchFamily="34" charset="0"/>
              <a:buChar char="•"/>
            </a:pPr>
            <a:r>
              <a:rPr lang="de-DE" dirty="0"/>
              <a:t>Zentrale Fragen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marL="612775" lvl="4" indent="-342900">
              <a:spcBef>
                <a:spcPts val="1200"/>
              </a:spcBef>
              <a:buClr>
                <a:srgbClr val="679E9B"/>
              </a:buClr>
              <a:buSzTx/>
              <a:buFont typeface="+mj-lt"/>
              <a:buAutoNum type="arabicPeriod"/>
            </a:pPr>
            <a:r>
              <a:rPr lang="de-DE" dirty="0"/>
              <a:t>Welche Werkzeuge braucht der Computer?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Beispiel:</a:t>
            </a:r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endParaRPr lang="de-DE" sz="600" dirty="0"/>
          </a:p>
          <a:p>
            <a:pPr marL="282575" lvl="3" indent="-285750">
              <a:spcBef>
                <a:spcPts val="1200"/>
              </a:spcBef>
              <a:buSzTx/>
              <a:buFont typeface="Arial" panose="020B0604020202020204" pitchFamily="34" charset="0"/>
              <a:buChar char="•"/>
            </a:pPr>
            <a:r>
              <a:rPr lang="de-DE" dirty="0"/>
              <a:t>Pakete laden: 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774234E-B7E1-184D-B945-C3951A82F19E}"/>
              </a:ext>
            </a:extLst>
          </p:cNvPr>
          <p:cNvSpPr/>
          <p:nvPr/>
        </p:nvSpPr>
        <p:spPr>
          <a:xfrm>
            <a:off x="5099537" y="4069996"/>
            <a:ext cx="3849773" cy="23202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Immer zu beachten: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beachtet Groß- und Kleinschreibung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R verwendet den Punkt als Dezimaltrennzeich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ine Ergebniszuweisung erfolgt über „&lt;-“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Ergebnisse werden mit %&gt;% übergeben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Fehlende Werte werden in R durch NA kodiert.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Kommentare werden mit # eingeleitet</a:t>
            </a:r>
          </a:p>
          <a:p>
            <a:pPr marL="10001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Hilfe zur Funktion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:?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oo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F74F265-2BD3-AA4C-8AE6-2C3D1EA96560}"/>
              </a:ext>
            </a:extLst>
          </p:cNvPr>
          <p:cNvSpPr/>
          <p:nvPr/>
        </p:nvSpPr>
        <p:spPr>
          <a:xfrm>
            <a:off x="1336986" y="2898860"/>
            <a:ext cx="768643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300" b="1" dirty="0" err="1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paket</a:t>
            </a:r>
            <a:r>
              <a:rPr lang="de-DE" sz="1300" b="1" dirty="0">
                <a:solidFill>
                  <a:srgbClr val="186B7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3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y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x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300" dirty="0" err="1">
                <a:solidFill>
                  <a:srgbClr val="679E9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daten</a:t>
            </a:r>
            <a:r>
              <a:rPr lang="de-DE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300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FF17F6BA-60AF-F545-B66F-02062644E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3559A0AE-9310-404C-B957-20E55BCF6BBF}"/>
              </a:ext>
            </a:extLst>
          </p:cNvPr>
          <p:cNvSpPr/>
          <p:nvPr/>
        </p:nvSpPr>
        <p:spPr>
          <a:xfrm>
            <a:off x="593970" y="5479286"/>
            <a:ext cx="31967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0_Erste_Schritte.pdf“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1ECF94A-37F5-A345-BAAF-4B3A1D6E8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69FF7C4F-3CD5-914C-AA4F-79C33EDA9B38}"/>
              </a:ext>
            </a:extLst>
          </p:cNvPr>
          <p:cNvSpPr/>
          <p:nvPr/>
        </p:nvSpPr>
        <p:spPr>
          <a:xfrm>
            <a:off x="591040" y="6046222"/>
            <a:ext cx="30700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0-Base-R.pdf“</a:t>
            </a:r>
          </a:p>
        </p:txBody>
      </p:sp>
      <p:sp>
        <p:nvSpPr>
          <p:cNvPr id="5" name="Geschweifte Klammer links 4">
            <a:extLst>
              <a:ext uri="{FF2B5EF4-FFF2-40B4-BE49-F238E27FC236}">
                <a16:creationId xmlns:a16="http://schemas.microsoft.com/office/drawing/2014/main" id="{8BEAC567-0EDB-2943-9BA9-15CB51A11125}"/>
              </a:ext>
            </a:extLst>
          </p:cNvPr>
          <p:cNvSpPr/>
          <p:nvPr/>
        </p:nvSpPr>
        <p:spPr>
          <a:xfrm rot="16200000">
            <a:off x="1771475" y="2887139"/>
            <a:ext cx="189613" cy="875367"/>
          </a:xfrm>
          <a:prstGeom prst="leftBrace">
            <a:avLst/>
          </a:prstGeom>
          <a:ln w="12700">
            <a:solidFill>
              <a:srgbClr val="186B7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Geschweifte Klammer links 13">
            <a:extLst>
              <a:ext uri="{FF2B5EF4-FFF2-40B4-BE49-F238E27FC236}">
                <a16:creationId xmlns:a16="http://schemas.microsoft.com/office/drawing/2014/main" id="{2679A491-B73E-A841-9474-A13FF1FEAA27}"/>
              </a:ext>
            </a:extLst>
          </p:cNvPr>
          <p:cNvSpPr/>
          <p:nvPr/>
        </p:nvSpPr>
        <p:spPr>
          <a:xfrm rot="16200000">
            <a:off x="3019615" y="2725403"/>
            <a:ext cx="189613" cy="1205408"/>
          </a:xfrm>
          <a:prstGeom prst="leftBrace">
            <a:avLst/>
          </a:prstGeom>
          <a:ln w="12700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links 14">
            <a:extLst>
              <a:ext uri="{FF2B5EF4-FFF2-40B4-BE49-F238E27FC236}">
                <a16:creationId xmlns:a16="http://schemas.microsoft.com/office/drawing/2014/main" id="{EE61BD0A-EA5C-1047-BAB9-9925EC9E0F96}"/>
              </a:ext>
            </a:extLst>
          </p:cNvPr>
          <p:cNvSpPr/>
          <p:nvPr/>
        </p:nvSpPr>
        <p:spPr>
          <a:xfrm rot="16200000">
            <a:off x="5272342" y="1729751"/>
            <a:ext cx="189613" cy="3196709"/>
          </a:xfrm>
          <a:prstGeom prst="leftBrace">
            <a:avLst/>
          </a:prstGeom>
          <a:ln w="952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28524C4-A992-B64B-81C0-528E3EE9E39C}"/>
              </a:ext>
            </a:extLst>
          </p:cNvPr>
          <p:cNvSpPr/>
          <p:nvPr/>
        </p:nvSpPr>
        <p:spPr>
          <a:xfrm>
            <a:off x="1740281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3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D45B3CB-F2E8-AD42-BF25-D6A9B1B17985}"/>
              </a:ext>
            </a:extLst>
          </p:cNvPr>
          <p:cNvSpPr/>
          <p:nvPr/>
        </p:nvSpPr>
        <p:spPr>
          <a:xfrm>
            <a:off x="2998469" y="3462966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1</a:t>
            </a:r>
            <a:endParaRPr lang="de-DE" sz="1800" dirty="0">
              <a:solidFill>
                <a:srgbClr val="679E9B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D04188A-2E27-B44C-B88B-47C74CF74A16}"/>
              </a:ext>
            </a:extLst>
          </p:cNvPr>
          <p:cNvSpPr/>
          <p:nvPr/>
        </p:nvSpPr>
        <p:spPr>
          <a:xfrm>
            <a:off x="5251196" y="3457415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rgbClr val="186B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rgbClr val="679E9B"/>
                </a:solidFill>
              </a:rPr>
              <a:t>2</a:t>
            </a:r>
            <a:endParaRPr lang="de-DE" sz="1800" dirty="0">
              <a:solidFill>
                <a:srgbClr val="679E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5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3 Data Science Prozess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0009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>
            <a:extLst>
              <a:ext uri="{FF2B5EF4-FFF2-40B4-BE49-F238E27FC236}">
                <a16:creationId xmlns:a16="http://schemas.microsoft.com/office/drawing/2014/main" id="{ECCE5E78-7F02-2948-BAA8-368EA13D67EE}"/>
              </a:ext>
            </a:extLst>
          </p:cNvPr>
          <p:cNvSpPr/>
          <p:nvPr/>
        </p:nvSpPr>
        <p:spPr>
          <a:xfrm>
            <a:off x="5408083" y="2230304"/>
            <a:ext cx="537946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248D644-D175-6F43-A7F7-978B16A698E8}"/>
              </a:ext>
            </a:extLst>
          </p:cNvPr>
          <p:cNvSpPr/>
          <p:nvPr/>
        </p:nvSpPr>
        <p:spPr>
          <a:xfrm>
            <a:off x="4866210" y="2230304"/>
            <a:ext cx="535522" cy="28323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C931460-0E31-DB46-84AF-B5B39E968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Wie genau erlange ich </a:t>
            </a:r>
            <a:r>
              <a:rPr lang="de-DE" sz="1800" b="0" dirty="0"/>
              <a:t>Wissen</a:t>
            </a:r>
            <a:r>
              <a:rPr lang="de-DE" sz="1800" b="0" dirty="0">
                <a:solidFill>
                  <a:schemeClr val="tx1"/>
                </a:solidFill>
              </a:rPr>
              <a:t> durch </a:t>
            </a:r>
            <a:r>
              <a:rPr lang="de-DE" sz="1800" b="0" dirty="0"/>
              <a:t>Daten</a:t>
            </a:r>
            <a:r>
              <a:rPr lang="de-DE" sz="1800" b="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Einzelne Schritte des Data Science Prozesses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2E2BCC8-6536-F84F-BEF8-179A4FB7A8F3}"/>
              </a:ext>
            </a:extLst>
          </p:cNvPr>
          <p:cNvSpPr/>
          <p:nvPr/>
        </p:nvSpPr>
        <p:spPr>
          <a:xfrm>
            <a:off x="1649706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C8598-4680-2E4E-9EAB-85211515782A}"/>
              </a:ext>
            </a:extLst>
          </p:cNvPr>
          <p:cNvCxnSpPr>
            <a:cxnSpLocks/>
            <a:stCxn id="7" idx="3"/>
            <a:endCxn id="12" idx="1"/>
          </p:cNvCxnSpPr>
          <p:nvPr/>
        </p:nvCxnSpPr>
        <p:spPr>
          <a:xfrm>
            <a:off x="2738300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87DA4098-1962-BF48-B3C6-6F5598761AA7}"/>
              </a:ext>
            </a:extLst>
          </p:cNvPr>
          <p:cNvSpPr/>
          <p:nvPr/>
        </p:nvSpPr>
        <p:spPr>
          <a:xfrm>
            <a:off x="187432" y="2230304"/>
            <a:ext cx="1055686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downloaden</a:t>
            </a: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636A6208-84E2-AF4B-8892-21FF43474A77}"/>
              </a:ext>
            </a:extLst>
          </p:cNvPr>
          <p:cNvSpPr/>
          <p:nvPr/>
        </p:nvSpPr>
        <p:spPr>
          <a:xfrm>
            <a:off x="4851084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ADF8473E-61BF-364F-A295-F9C89F245C56}"/>
              </a:ext>
            </a:extLst>
          </p:cNvPr>
          <p:cNvSpPr/>
          <p:nvPr/>
        </p:nvSpPr>
        <p:spPr>
          <a:xfrm>
            <a:off x="3250395" y="2230305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42C470B-D731-9B44-828D-918D36BC737F}"/>
              </a:ext>
            </a:extLst>
          </p:cNvPr>
          <p:cNvSpPr/>
          <p:nvPr/>
        </p:nvSpPr>
        <p:spPr>
          <a:xfrm>
            <a:off x="6463496" y="2236199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56B9D2-A4D4-AF48-997B-DFC2C426D4FA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834171" y="2535544"/>
            <a:ext cx="629325" cy="589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09BBF5E-E831-AF4C-8ACC-5C0F7B931DF8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4338989" y="2535544"/>
            <a:ext cx="512095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F5205F0-2379-DF4D-929A-7511FCCBC3DF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1243118" y="2535543"/>
            <a:ext cx="406588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>
            <a:extLst>
              <a:ext uri="{FF2B5EF4-FFF2-40B4-BE49-F238E27FC236}">
                <a16:creationId xmlns:a16="http://schemas.microsoft.com/office/drawing/2014/main" id="{A2B9CEA7-52DF-544C-A822-F2E3A349920B}"/>
              </a:ext>
            </a:extLst>
          </p:cNvPr>
          <p:cNvCxnSpPr>
            <a:cxnSpLocks/>
            <a:stCxn id="61" idx="0"/>
            <a:endCxn id="12" idx="0"/>
          </p:cNvCxnSpPr>
          <p:nvPr/>
        </p:nvCxnSpPr>
        <p:spPr>
          <a:xfrm rot="16200000" flipH="1" flipV="1">
            <a:off x="4464331" y="1560664"/>
            <a:ext cx="1" cy="1339279"/>
          </a:xfrm>
          <a:prstGeom prst="bentConnector3">
            <a:avLst>
              <a:gd name="adj1" fmla="val -22860000000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>
            <a:extLst>
              <a:ext uri="{FF2B5EF4-FFF2-40B4-BE49-F238E27FC236}">
                <a16:creationId xmlns:a16="http://schemas.microsoft.com/office/drawing/2014/main" id="{25695E02-DBFC-7744-BC59-FFAA394905E3}"/>
              </a:ext>
            </a:extLst>
          </p:cNvPr>
          <p:cNvCxnSpPr>
            <a:cxnSpLocks/>
            <a:stCxn id="14" idx="0"/>
            <a:endCxn id="62" idx="0"/>
          </p:cNvCxnSpPr>
          <p:nvPr/>
        </p:nvCxnSpPr>
        <p:spPr>
          <a:xfrm rot="16200000" flipV="1">
            <a:off x="6339478" y="1567883"/>
            <a:ext cx="5895" cy="1330737"/>
          </a:xfrm>
          <a:prstGeom prst="bentConnector3">
            <a:avLst>
              <a:gd name="adj1" fmla="val 3977863"/>
            </a:avLst>
          </a:prstGeom>
          <a:ln w="15875">
            <a:solidFill>
              <a:srgbClr val="679E9B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F850D46F-AF4D-2041-B994-4C3C6950E46C}"/>
              </a:ext>
            </a:extLst>
          </p:cNvPr>
          <p:cNvSpPr txBox="1"/>
          <p:nvPr/>
        </p:nvSpPr>
        <p:spPr>
          <a:xfrm>
            <a:off x="1543323" y="3114303"/>
            <a:ext cx="12786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2B175BC1-385B-A748-9A9A-A874D888AE91}"/>
              </a:ext>
            </a:extLst>
          </p:cNvPr>
          <p:cNvSpPr txBox="1"/>
          <p:nvPr/>
        </p:nvSpPr>
        <p:spPr>
          <a:xfrm>
            <a:off x="3124395" y="3115685"/>
            <a:ext cx="13408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B399BFC-A638-304F-B34E-7BCCA0498C38}"/>
              </a:ext>
            </a:extLst>
          </p:cNvPr>
          <p:cNvSpPr txBox="1"/>
          <p:nvPr/>
        </p:nvSpPr>
        <p:spPr>
          <a:xfrm>
            <a:off x="4730456" y="3114303"/>
            <a:ext cx="13819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ggf. unabhängig von der Fragestell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62E58EE9-6B0C-8C4E-BD6F-DE8A1874607E}"/>
              </a:ext>
            </a:extLst>
          </p:cNvPr>
          <p:cNvSpPr txBox="1"/>
          <p:nvPr/>
        </p:nvSpPr>
        <p:spPr>
          <a:xfrm>
            <a:off x="6348622" y="3114303"/>
            <a:ext cx="13023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B1151C2-5551-0D4B-B921-A09CB04955D7}"/>
              </a:ext>
            </a:extLst>
          </p:cNvPr>
          <p:cNvSpPr/>
          <p:nvPr/>
        </p:nvSpPr>
        <p:spPr>
          <a:xfrm>
            <a:off x="43022" y="3989324"/>
            <a:ext cx="39263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angelehnt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an das CRISP-DM Modell)</a:t>
            </a:r>
          </a:p>
        </p:txBody>
      </p:sp>
      <p:sp>
        <p:nvSpPr>
          <p:cNvPr id="81" name="Abgerundetes Rechteck 80">
            <a:extLst>
              <a:ext uri="{FF2B5EF4-FFF2-40B4-BE49-F238E27FC236}">
                <a16:creationId xmlns:a16="http://schemas.microsoft.com/office/drawing/2014/main" id="{3804E491-407A-C84C-9041-BDB7D9FED9A4}"/>
              </a:ext>
            </a:extLst>
          </p:cNvPr>
          <p:cNvSpPr/>
          <p:nvPr/>
        </p:nvSpPr>
        <p:spPr>
          <a:xfrm>
            <a:off x="7987491" y="2242027"/>
            <a:ext cx="1046778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Ergebnisse präsentieren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A9DE30C1-A797-9841-AF43-818F9F99F461}"/>
              </a:ext>
            </a:extLst>
          </p:cNvPr>
          <p:cNvSpPr txBox="1"/>
          <p:nvPr/>
        </p:nvSpPr>
        <p:spPr bwMode="auto">
          <a:xfrm>
            <a:off x="8886092" y="5650520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B774CB91-4F2D-8343-BC27-A58D2BF2E3FD}"/>
              </a:ext>
            </a:extLst>
          </p:cNvPr>
          <p:cNvCxnSpPr>
            <a:cxnSpLocks/>
            <a:stCxn id="14" idx="3"/>
            <a:endCxn id="81" idx="1"/>
          </p:cNvCxnSpPr>
          <p:nvPr/>
        </p:nvCxnSpPr>
        <p:spPr>
          <a:xfrm>
            <a:off x="7552090" y="2541438"/>
            <a:ext cx="435401" cy="582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97040DFD-8410-3B44-8553-D7F6549C5A46}"/>
              </a:ext>
            </a:extLst>
          </p:cNvPr>
          <p:cNvSpPr/>
          <p:nvPr/>
        </p:nvSpPr>
        <p:spPr>
          <a:xfrm>
            <a:off x="46717" y="1847980"/>
            <a:ext cx="9046167" cy="213923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6D32AA79-EAAA-924B-BD1F-6D37E6FCC800}"/>
              </a:ext>
            </a:extLst>
          </p:cNvPr>
          <p:cNvSpPr txBox="1"/>
          <p:nvPr/>
        </p:nvSpPr>
        <p:spPr>
          <a:xfrm>
            <a:off x="23310" y="1589483"/>
            <a:ext cx="16946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Data Science Prozess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8C1C1D59-A8E8-8148-81E9-A957F61FBB6D}"/>
              </a:ext>
            </a:extLst>
          </p:cNvPr>
          <p:cNvSpPr txBox="1"/>
          <p:nvPr/>
        </p:nvSpPr>
        <p:spPr>
          <a:xfrm>
            <a:off x="53871" y="3111925"/>
            <a:ext cx="12786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quelle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CCDC98-1F0B-9745-A8EA-AE38805793C2}"/>
              </a:ext>
            </a:extLst>
          </p:cNvPr>
          <p:cNvSpPr txBox="1"/>
          <p:nvPr/>
        </p:nvSpPr>
        <p:spPr>
          <a:xfrm>
            <a:off x="7861491" y="3111631"/>
            <a:ext cx="12982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Kommunikation der Antwort an Stakeholder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604E576-C57B-434F-A918-2F197A8F4A29}"/>
              </a:ext>
            </a:extLst>
          </p:cNvPr>
          <p:cNvSpPr/>
          <p:nvPr/>
        </p:nvSpPr>
        <p:spPr>
          <a:xfrm>
            <a:off x="7807788" y="2966781"/>
            <a:ext cx="1278615" cy="78903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DDAF0F8-9D76-7D47-B3FC-7E8B112C2C9D}"/>
              </a:ext>
            </a:extLst>
          </p:cNvPr>
          <p:cNvSpPr/>
          <p:nvPr/>
        </p:nvSpPr>
        <p:spPr>
          <a:xfrm>
            <a:off x="1543323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0E0290A9-FE9F-9845-92B1-3CAC00B718EE}"/>
              </a:ext>
            </a:extLst>
          </p:cNvPr>
          <p:cNvSpPr/>
          <p:nvPr/>
        </p:nvSpPr>
        <p:spPr>
          <a:xfrm>
            <a:off x="3124395" y="212895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A5BD519-D5CE-7A44-98C9-64AEE30E713D}"/>
              </a:ext>
            </a:extLst>
          </p:cNvPr>
          <p:cNvSpPr/>
          <p:nvPr/>
        </p:nvSpPr>
        <p:spPr>
          <a:xfrm>
            <a:off x="54737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0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7F8A6110-981E-204E-BAEA-6D46A1E87ADB}"/>
              </a:ext>
            </a:extLst>
          </p:cNvPr>
          <p:cNvSpPr/>
          <p:nvPr/>
        </p:nvSpPr>
        <p:spPr>
          <a:xfrm>
            <a:off x="1332486" y="2428222"/>
            <a:ext cx="307348" cy="276999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8D15907-2DF6-3B4A-B7E0-CF8ECA9D9435}"/>
              </a:ext>
            </a:extLst>
          </p:cNvPr>
          <p:cNvSpPr/>
          <p:nvPr/>
        </p:nvSpPr>
        <p:spPr>
          <a:xfrm>
            <a:off x="53132" y="2063903"/>
            <a:ext cx="1278615" cy="1404343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00C6A66-CCD3-294E-B2B5-21A8EBE59A28}"/>
              </a:ext>
            </a:extLst>
          </p:cNvPr>
          <p:cNvSpPr/>
          <p:nvPr/>
        </p:nvSpPr>
        <p:spPr>
          <a:xfrm>
            <a:off x="4730456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379F036-D5A8-274F-B13A-CEF017EE7CC7}"/>
              </a:ext>
            </a:extLst>
          </p:cNvPr>
          <p:cNvSpPr/>
          <p:nvPr/>
        </p:nvSpPr>
        <p:spPr>
          <a:xfrm>
            <a:off x="6348622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06FEFB4F-B860-F443-8DBD-E612BF8E47E6}"/>
              </a:ext>
            </a:extLst>
          </p:cNvPr>
          <p:cNvSpPr/>
          <p:nvPr/>
        </p:nvSpPr>
        <p:spPr>
          <a:xfrm>
            <a:off x="7861491" y="2127750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5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F274A507-E9DE-1C49-B963-DBC142F4A169}"/>
              </a:ext>
            </a:extLst>
          </p:cNvPr>
          <p:cNvSpPr/>
          <p:nvPr/>
        </p:nvSpPr>
        <p:spPr>
          <a:xfrm>
            <a:off x="7555107" y="2040359"/>
            <a:ext cx="1500197" cy="914801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949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lese ich Daten ein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4019B5AB-2464-2049-93F0-70EA2F9A334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inles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5803AA8-DA35-B149-BE03-35E758C96DDE}"/>
              </a:ext>
            </a:extLst>
          </p:cNvPr>
          <p:cNvSpPr txBox="1"/>
          <p:nvPr/>
        </p:nvSpPr>
        <p:spPr>
          <a:xfrm>
            <a:off x="7302167" y="2241616"/>
            <a:ext cx="13377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für die Bearbeitung bereitstellen</a:t>
            </a: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23FE972F-83F1-EE41-A4D1-47B4022B6C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971550"/>
            <a:ext cx="8315181" cy="5377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Um Daten zu bearbeiten müssen wir sie in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einlesen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Meistens als .</a:t>
            </a:r>
            <a:r>
              <a:rPr lang="de-DE" sz="1600" dirty="0" err="1"/>
              <a:t>csv</a:t>
            </a:r>
            <a:r>
              <a:rPr lang="de-DE" sz="1600" dirty="0"/>
              <a:t>-Datei (</a:t>
            </a:r>
            <a:r>
              <a:rPr lang="de-DE" sz="1600" dirty="0" err="1"/>
              <a:t>csv</a:t>
            </a:r>
            <a:r>
              <a:rPr lang="de-DE" sz="1600" dirty="0"/>
              <a:t> = „</a:t>
            </a:r>
            <a:r>
              <a:rPr lang="de-DE" sz="1600" u="sng" dirty="0" err="1"/>
              <a:t>c</a:t>
            </a:r>
            <a:r>
              <a:rPr lang="de-DE" sz="1600" dirty="0" err="1"/>
              <a:t>omma</a:t>
            </a:r>
            <a:r>
              <a:rPr lang="de-DE" sz="1600" dirty="0"/>
              <a:t> </a:t>
            </a:r>
            <a:r>
              <a:rPr lang="de-DE" sz="1600" u="sng" dirty="0" err="1"/>
              <a:t>s</a:t>
            </a:r>
            <a:r>
              <a:rPr lang="de-DE" sz="1600" dirty="0" err="1"/>
              <a:t>eparated</a:t>
            </a:r>
            <a:r>
              <a:rPr lang="de-DE" sz="1600" dirty="0"/>
              <a:t> </a:t>
            </a:r>
            <a:r>
              <a:rPr lang="de-DE" sz="1600" u="sng" dirty="0" err="1"/>
              <a:t>v</a:t>
            </a:r>
            <a:r>
              <a:rPr lang="de-DE" sz="1600" dirty="0" err="1"/>
              <a:t>alues</a:t>
            </a:r>
            <a:r>
              <a:rPr lang="de-DE" sz="1600" dirty="0"/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Gelegentlich auch aus .</a:t>
            </a:r>
            <a:r>
              <a:rPr lang="de-DE" sz="1600" b="0" dirty="0" err="1">
                <a:solidFill>
                  <a:schemeClr val="tx1"/>
                </a:solidFill>
              </a:rPr>
              <a:t>xlsx</a:t>
            </a:r>
            <a:r>
              <a:rPr lang="de-DE" sz="1600" dirty="0"/>
              <a:t>-Datei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Lösungen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Nutzen der </a:t>
            </a:r>
            <a:r>
              <a:rPr lang="de-DE" sz="1600" b="0" dirty="0" err="1">
                <a:solidFill>
                  <a:schemeClr val="tx1"/>
                </a:solidFill>
                <a:cs typeface="Courier New" panose="02070309020205020404" pitchFamily="49" charset="0"/>
              </a:rPr>
              <a:t>RStudio</a:t>
            </a:r>
            <a:r>
              <a:rPr lang="de-DE" sz="1600" b="0" dirty="0">
                <a:solidFill>
                  <a:schemeClr val="tx1"/>
                </a:solidFill>
                <a:cs typeface="Courier New" panose="02070309020205020404" pitchFamily="49" charset="0"/>
              </a:rPr>
              <a:t> IDE</a:t>
            </a:r>
          </a:p>
          <a:p>
            <a:pPr marL="614363" lvl="2" indent="-342900">
              <a:buFont typeface="+mj-lt"/>
              <a:buAutoNum type="arabicPeriod"/>
            </a:pPr>
            <a:r>
              <a:rPr lang="de-DE" sz="1600" dirty="0">
                <a:cs typeface="Courier New" panose="02070309020205020404" pitchFamily="49" charset="0"/>
              </a:rPr>
              <a:t>Nutzen der R-Befehle 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csv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read.csv2)</a:t>
            </a: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tabl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84238" lvl="4" indent="-342900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enxls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ad.xlsx</a:t>
            </a:r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dirty="0">
              <a:cs typeface="Courier New" panose="02070309020205020404" pitchFamily="49" charset="0"/>
            </a:endParaRPr>
          </a:p>
          <a:p>
            <a:pPr marL="884238" lvl="4" indent="-342900"/>
            <a:endParaRPr lang="de-DE" sz="1400" b="0" dirty="0">
              <a:solidFill>
                <a:schemeClr val="tx1"/>
              </a:solidFill>
              <a:cs typeface="Courier New" panose="02070309020205020404" pitchFamily="49" charset="0"/>
            </a:endParaRPr>
          </a:p>
          <a:p>
            <a:endParaRPr lang="de-DE" sz="1800" b="0" dirty="0">
              <a:solidFill>
                <a:srgbClr val="679E9B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4436B19-2AF5-BE42-8D79-86CC55D50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A7BB1659-F3A9-DA42-9939-F7B6E5BE5B3C}"/>
              </a:ext>
            </a:extLst>
          </p:cNvPr>
          <p:cNvSpPr/>
          <p:nvPr/>
        </p:nvSpPr>
        <p:spPr>
          <a:xfrm>
            <a:off x="593970" y="5479286"/>
            <a:ext cx="32608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1_Daten_einlesen.pdf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4D29AAA-5807-174A-A25A-BD3072709C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AA4836D-88CC-CD44-B1C5-9EEB61F7B720}"/>
              </a:ext>
            </a:extLst>
          </p:cNvPr>
          <p:cNvSpPr/>
          <p:nvPr/>
        </p:nvSpPr>
        <p:spPr>
          <a:xfrm>
            <a:off x="591040" y="6046222"/>
            <a:ext cx="64534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0-Base-R.pdf“ (Abschnitt „Reading </a:t>
            </a:r>
            <a:r>
              <a:rPr lang="de-DE" sz="1600" dirty="0" err="1"/>
              <a:t>and</a:t>
            </a:r>
            <a:r>
              <a:rPr lang="de-DE" sz="1600" dirty="0"/>
              <a:t> Writing Data“)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69AEA2-EBF8-3849-AE8B-FBD7A8873605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1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F2A2259-CE9D-F445-A30F-9478AB471F83}"/>
              </a:ext>
            </a:extLst>
          </p:cNvPr>
          <p:cNvSpPr/>
          <p:nvPr/>
        </p:nvSpPr>
        <p:spPr>
          <a:xfrm>
            <a:off x="7124688" y="1053047"/>
            <a:ext cx="1721639" cy="1842554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929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1FCB9D-3739-E941-8477-B9A0AF6A5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elten sind Daten so, wie wir sie benö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anipulation &amp; Transformation 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800" b="0" dirty="0">
                <a:solidFill>
                  <a:schemeClr val="tx1"/>
                </a:solidFill>
                <a:cs typeface="Courier New" panose="02070309020205020404" pitchFamily="49" charset="0"/>
              </a:rPr>
              <a:t>*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Beobachtungen auswähl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ter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verändern oder neu erzeug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e-DE" sz="1600" dirty="0"/>
              <a:t>Variablen sortieren: 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nge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Clr>
                <a:srgbClr val="00998A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62626"/>
                </a:solidFill>
              </a:rPr>
              <a:t>Variablen aggregieren: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mit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ze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2" indent="0">
              <a:buClr>
                <a:srgbClr val="00998A"/>
              </a:buClr>
              <a:buNone/>
            </a:pPr>
            <a:endParaRPr lang="de-DE" sz="1600" dirty="0">
              <a:solidFill>
                <a:srgbClr val="262626"/>
              </a:solidFill>
              <a:cs typeface="Courier New" panose="02070309020205020404" pitchFamily="49" charset="0"/>
            </a:endParaRPr>
          </a:p>
          <a:p>
            <a:pPr lvl="2" indent="0">
              <a:buClr>
                <a:srgbClr val="00998A"/>
              </a:buClr>
              <a:buNone/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*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 wird automatisch durch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geladen</a:t>
            </a:r>
            <a:endParaRPr lang="de-DE" sz="1800" b="0" dirty="0">
              <a:solidFill>
                <a:srgbClr val="679E9B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reite ich Daten auf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078F4F-F825-6149-B205-4CB90D1D4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4DA81F3-1359-664E-9DBE-CDC77CB7DF2C}"/>
              </a:ext>
            </a:extLst>
          </p:cNvPr>
          <p:cNvSpPr/>
          <p:nvPr/>
        </p:nvSpPr>
        <p:spPr>
          <a:xfrm>
            <a:off x="593970" y="5479286"/>
            <a:ext cx="35974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2_Daten_aufbereiten.pdf“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C2BCAC-1844-3540-8E54-1568CB2AF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803DE99-BFDA-874F-8CDC-6B4DE6B69846}"/>
              </a:ext>
            </a:extLst>
          </p:cNvPr>
          <p:cNvSpPr/>
          <p:nvPr/>
        </p:nvSpPr>
        <p:spPr>
          <a:xfrm>
            <a:off x="591040" y="6046222"/>
            <a:ext cx="50596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2-Data-Transformation-with-dplyr.pdf“</a:t>
            </a: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D7E52077-CB3A-7A46-A991-10A0A6F61689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aufberei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B29710F-551D-9A4E-933D-39183FDB5511}"/>
              </a:ext>
            </a:extLst>
          </p:cNvPr>
          <p:cNvSpPr txBox="1"/>
          <p:nvPr/>
        </p:nvSpPr>
        <p:spPr>
          <a:xfrm>
            <a:off x="7183842" y="2242998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+mn-lt"/>
                <a:cs typeface="Arial" panose="020B0604020202020204" pitchFamily="34" charset="0"/>
              </a:rPr>
              <a:t>Daten in die Form bringen, mit der ich weiterarbeiten kan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E8FC5A1-EA8F-7E41-95DC-FEF48F5B4D4F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2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52F6A79-655D-974F-9383-1EEF98C21D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8814" y="4478137"/>
            <a:ext cx="2451251" cy="1152538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35582650-34DB-E942-B24E-BE9E09BBBC67}"/>
              </a:ext>
            </a:extLst>
          </p:cNvPr>
          <p:cNvSpPr/>
          <p:nvPr/>
        </p:nvSpPr>
        <p:spPr>
          <a:xfrm>
            <a:off x="7124688" y="1053047"/>
            <a:ext cx="1721639" cy="1842553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789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3D936DE-BD38-0343-BED7-FED9A10BF5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Deskriptive Statistiken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 err="1">
                <a:solidFill>
                  <a:schemeClr val="tx1"/>
                </a:solidFill>
              </a:rPr>
              <a:t>Lagemaße</a:t>
            </a:r>
            <a:r>
              <a:rPr lang="de-DE" sz="1600" b="0" dirty="0">
                <a:solidFill>
                  <a:schemeClr val="tx1"/>
                </a:solidFill>
              </a:rPr>
              <a:t>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median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Streuungsmaße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, IQR()</a:t>
            </a:r>
            <a:endParaRPr lang="de-DE" sz="16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b="0" dirty="0">
                <a:solidFill>
                  <a:schemeClr val="tx1"/>
                </a:solidFill>
              </a:rPr>
              <a:t>Korrelationsmaße	</a:t>
            </a:r>
            <a:r>
              <a:rPr lang="de-DE" sz="16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r</a:t>
            </a:r>
            <a:r>
              <a:rPr lang="de-DE" sz="16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800" b="0" dirty="0">
                <a:solidFill>
                  <a:schemeClr val="tx1"/>
                </a:solidFill>
              </a:rPr>
              <a:t>Zusammenfassung 	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800" b="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800" b="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Visualisierungen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alken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graph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Histogramm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stogra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 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Box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w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de-DE" sz="1600" dirty="0">
                <a:solidFill>
                  <a:srgbClr val="262626"/>
                </a:solidFill>
              </a:rPr>
              <a:t>: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Streudiagramm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y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41625" algn="l"/>
              </a:tabLst>
            </a:pPr>
            <a:r>
              <a:rPr lang="de-DE" sz="1600" dirty="0">
                <a:solidFill>
                  <a:srgbClr val="262626"/>
                </a:solidFill>
              </a:rPr>
              <a:t>Mosaikplot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plot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exploriere ich Daten?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A0F8386B-AE05-5547-B5D2-13DE2EB29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56" name="Rechteck 55">
            <a:extLst>
              <a:ext uri="{FF2B5EF4-FFF2-40B4-BE49-F238E27FC236}">
                <a16:creationId xmlns:a16="http://schemas.microsoft.com/office/drawing/2014/main" id="{7A8B0990-E9AC-084B-B3C0-CD59EC471A17}"/>
              </a:ext>
            </a:extLst>
          </p:cNvPr>
          <p:cNvSpPr/>
          <p:nvPr/>
        </p:nvSpPr>
        <p:spPr>
          <a:xfrm>
            <a:off x="593970" y="5479286"/>
            <a:ext cx="35846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3_Daten_explorieren.pdf“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E46FDC07-3845-B241-8953-6F42A1884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614FA8BA-7D4B-0042-B278-8C8A1451C67D}"/>
              </a:ext>
            </a:extLst>
          </p:cNvPr>
          <p:cNvSpPr/>
          <p:nvPr/>
        </p:nvSpPr>
        <p:spPr>
          <a:xfrm>
            <a:off x="591040" y="6046222"/>
            <a:ext cx="62290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s: „CS3-Kennzahlen“ &amp; </a:t>
            </a:r>
            <a:r>
              <a:rPr lang="de-DE" sz="1600"/>
              <a:t>„CS3-Visualisierungen-basics“</a:t>
            </a:r>
            <a:endParaRPr lang="de-DE" sz="1600" dirty="0"/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39045B34-A37D-9541-AC8F-47859E1EBE3C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exploriere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55CA5F8-5C3E-0C4B-9B22-FB3DAA880453}"/>
              </a:ext>
            </a:extLst>
          </p:cNvPr>
          <p:cNvSpPr txBox="1"/>
          <p:nvPr/>
        </p:nvSpPr>
        <p:spPr>
          <a:xfrm>
            <a:off x="7183842" y="2241616"/>
            <a:ext cx="1656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Eigenschaften der Daten untersuchen, unabhängig von der Fragestellung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676D3ED-EE36-FC45-B072-792E3AF04BB9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3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11" name="Grafik 110">
            <a:extLst>
              <a:ext uri="{FF2B5EF4-FFF2-40B4-BE49-F238E27FC236}">
                <a16:creationId xmlns:a16="http://schemas.microsoft.com/office/drawing/2014/main" id="{ECD02D50-B96C-1B40-8D4C-3870C09C2D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188" y="4178942"/>
            <a:ext cx="2469182" cy="1858596"/>
          </a:xfrm>
          <a:prstGeom prst="rect">
            <a:avLst/>
          </a:prstGeom>
        </p:spPr>
      </p:pic>
      <p:sp>
        <p:nvSpPr>
          <p:cNvPr id="112" name="Rechteck 111">
            <a:extLst>
              <a:ext uri="{FF2B5EF4-FFF2-40B4-BE49-F238E27FC236}">
                <a16:creationId xmlns:a16="http://schemas.microsoft.com/office/drawing/2014/main" id="{4D3E5ADD-3B7A-0743-BD53-0A7E464924EC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07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361A50C-F213-C54C-A2E4-C5510A02D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tatistische Hypothesentests 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800" b="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800" b="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800" b="0" dirty="0">
              <a:solidFill>
                <a:schemeClr val="tx1"/>
              </a:solidFill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teils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op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Mittelwert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/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Chi</a:t>
            </a:r>
            <a:r>
              <a:rPr lang="de-DE" sz="1600" baseline="30000" dirty="0"/>
              <a:t>2</a:t>
            </a:r>
            <a:r>
              <a:rPr lang="de-DE" sz="1600" dirty="0"/>
              <a:t>-Test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xchisq.test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ANOVA	</a:t>
            </a:r>
            <a:r>
              <a:rPr lang="de-DE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ov</a:t>
            </a:r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de-DE" sz="1600" dirty="0">
              <a:solidFill>
                <a:srgbClr val="262626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Modellierung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ineare Regression	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m(), 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/>
              <a:t>Logistische Regression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lm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mily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„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inomia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“)</a:t>
            </a:r>
          </a:p>
          <a:p>
            <a:pPr marL="557213" lvl="2" indent="-285750">
              <a:buFont typeface="Arial" panose="020B0604020202020204" pitchFamily="34" charset="0"/>
              <a:buChar char="•"/>
              <a:tabLst>
                <a:tab pos="2876550" algn="l"/>
              </a:tabLst>
            </a:pPr>
            <a:r>
              <a:rPr lang="de-DE" sz="1600" dirty="0">
                <a:solidFill>
                  <a:srgbClr val="262626"/>
                </a:solidFill>
                <a:cs typeface="Courier New" panose="02070309020205020404" pitchFamily="49" charset="0"/>
              </a:rPr>
              <a:t>Modell plotten 	</a:t>
            </a:r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lotModel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modelliere ich Daten?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A49DE44-4155-7D43-9FD9-3C2D25812FD2}"/>
              </a:ext>
            </a:extLst>
          </p:cNvPr>
          <p:cNvSpPr/>
          <p:nvPr/>
        </p:nvSpPr>
        <p:spPr>
          <a:xfrm>
            <a:off x="7428167" y="1357618"/>
            <a:ext cx="1088594" cy="610477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 modellier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D5B4C68-F8D4-F44B-BC06-C044D2E0E576}"/>
              </a:ext>
            </a:extLst>
          </p:cNvPr>
          <p:cNvSpPr txBox="1"/>
          <p:nvPr/>
        </p:nvSpPr>
        <p:spPr>
          <a:xfrm>
            <a:off x="7302168" y="2235722"/>
            <a:ext cx="1349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cs typeface="Arial" panose="020B0604020202020204" pitchFamily="34" charset="0"/>
              </a:rPr>
              <a:t>Beantwortung der Forschungsfrage</a:t>
            </a:r>
            <a:endParaRPr lang="de-DE" sz="1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4A11485-B34C-204B-B5A0-1D5EF5A9A807}"/>
              </a:ext>
            </a:extLst>
          </p:cNvPr>
          <p:cNvSpPr/>
          <p:nvPr/>
        </p:nvSpPr>
        <p:spPr>
          <a:xfrm>
            <a:off x="7302167" y="1231618"/>
            <a:ext cx="251999" cy="251999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0FF1C8E-22DE-BC41-9B11-A11F1ABCCCCE}"/>
              </a:ext>
            </a:extLst>
          </p:cNvPr>
          <p:cNvSpPr/>
          <p:nvPr/>
        </p:nvSpPr>
        <p:spPr>
          <a:xfrm>
            <a:off x="7124688" y="1058123"/>
            <a:ext cx="1721639" cy="183747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C10BEC16-260F-5945-B924-31C5390B82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46" y="4101362"/>
            <a:ext cx="2879281" cy="1907713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01F2D16F-0205-1146-9AC8-4CA2638B9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1" y="5410194"/>
            <a:ext cx="476738" cy="476738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82846F13-2D9A-794B-9A32-266A957B1D90}"/>
              </a:ext>
            </a:extLst>
          </p:cNvPr>
          <p:cNvSpPr/>
          <p:nvPr/>
        </p:nvSpPr>
        <p:spPr>
          <a:xfrm>
            <a:off x="593970" y="5479286"/>
            <a:ext cx="36263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Aufgabe: „B4_Daten_modellieren.pdf“</a:t>
            </a:r>
          </a:p>
        </p:txBody>
      </p:sp>
      <p:pic>
        <p:nvPicPr>
          <p:cNvPr id="88" name="Grafik 87">
            <a:extLst>
              <a:ext uri="{FF2B5EF4-FFF2-40B4-BE49-F238E27FC236}">
                <a16:creationId xmlns:a16="http://schemas.microsoft.com/office/drawing/2014/main" id="{497DD5ED-1EE0-7848-BD2D-977F8269F0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927" y="6006656"/>
            <a:ext cx="417685" cy="417685"/>
          </a:xfrm>
          <a:prstGeom prst="rect">
            <a:avLst/>
          </a:prstGeom>
        </p:spPr>
      </p:pic>
      <p:sp>
        <p:nvSpPr>
          <p:cNvPr id="89" name="Rechteck 88">
            <a:extLst>
              <a:ext uri="{FF2B5EF4-FFF2-40B4-BE49-F238E27FC236}">
                <a16:creationId xmlns:a16="http://schemas.microsoft.com/office/drawing/2014/main" id="{1A62EC60-65BD-5E40-BDFA-AA108C8BBACE}"/>
              </a:ext>
            </a:extLst>
          </p:cNvPr>
          <p:cNvSpPr/>
          <p:nvPr/>
        </p:nvSpPr>
        <p:spPr>
          <a:xfrm>
            <a:off x="591040" y="6046222"/>
            <a:ext cx="76322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Cheat Sheet: „CS4-Datenanalyse-mit-Mosaic“ (Abschnitt Inferenz / Modellierung)</a:t>
            </a:r>
          </a:p>
        </p:txBody>
      </p:sp>
    </p:spTree>
    <p:extLst>
      <p:ext uri="{BB962C8B-B14F-4D97-AF65-F5344CB8AC3E}">
        <p14:creationId xmlns:p14="http://schemas.microsoft.com/office/powerpoint/2010/main" val="772375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992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lvl="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>
                <a:solidFill>
                  <a:srgbClr val="717D87"/>
                </a:solidFill>
              </a:rPr>
              <a:t>	- Datenaufbereitung &amp; -visualisierung</a:t>
            </a:r>
            <a:endParaRPr lang="de-DE" sz="1300" kern="0" dirty="0">
              <a:solidFill>
                <a:srgbClr val="262626"/>
              </a:solidFill>
            </a:endParaRP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A/B-</a:t>
            </a:r>
            <a:r>
              <a:rPr lang="de-DE" sz="1300" kern="0" dirty="0" err="1">
                <a:solidFill>
                  <a:schemeClr val="tx2"/>
                </a:solidFill>
              </a:rPr>
              <a:t>Testing</a:t>
            </a:r>
            <a:r>
              <a:rPr lang="de-DE" sz="1300" kern="0" dirty="0">
                <a:solidFill>
                  <a:schemeClr val="tx2"/>
                </a:solidFill>
              </a:rPr>
              <a:t> (Hypothesentests auf Webseiten)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300" kern="0" dirty="0"/>
              <a:t>	</a:t>
            </a:r>
            <a:r>
              <a:rPr lang="de-DE" sz="1300" kern="0" dirty="0">
                <a:solidFill>
                  <a:schemeClr val="tx2"/>
                </a:solidFill>
              </a:rPr>
              <a:t>- Statistische Modellierung, </a:t>
            </a:r>
            <a:r>
              <a:rPr lang="de-DE" sz="1300" kern="0" dirty="0" err="1">
                <a:solidFill>
                  <a:schemeClr val="tx2"/>
                </a:solidFill>
              </a:rPr>
              <a:t>Machine</a:t>
            </a:r>
            <a:r>
              <a:rPr lang="de-DE" sz="1300" kern="0" dirty="0">
                <a:solidFill>
                  <a:schemeClr val="tx2"/>
                </a:solidFill>
              </a:rPr>
              <a:t> Learning &amp; AI</a:t>
            </a:r>
          </a:p>
          <a:p>
            <a:pPr marL="342900" indent="-34290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://www.statisticscommunicated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5277584"/>
            <a:ext cx="8315181" cy="1071457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A) Zu diesem Abschnitt gibt es Aufgaben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e-DE" sz="1200" b="0" dirty="0">
                <a:solidFill>
                  <a:schemeClr val="tx1"/>
                </a:solidFill>
              </a:rPr>
              <a:t>(C) Zu diesem Abschnitt gibt es ein Cheat Shee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1320916"/>
              </p:ext>
            </p:extLst>
          </p:nvPr>
        </p:nvGraphicFramePr>
        <p:xfrm>
          <a:off x="114171" y="1067098"/>
          <a:ext cx="8067402" cy="39434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Empirische Untersuchungen und Programmieren (Data Science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ist programmieren für empirische Untersuchungen wichtig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4528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rum verwenden wir R als Programmiersprache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35453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Verwendung von R und seinen Komponent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as gehört zu R und seinem Universum?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2279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diene ich R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352701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Data Science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lese ich Daten ei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bereite ich Daten auf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980669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explor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57463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.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77800"/>
                      <a:r>
                        <a:rPr lang="de-DE" sz="1200" dirty="0"/>
                        <a:t>Wie modelliere ich Daten? (A,C)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122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Empirische Untersuchungen </a:t>
            </a:r>
          </a:p>
          <a:p>
            <a:r>
              <a:rPr lang="de-DE" dirty="0"/>
              <a:t>und Programmieren </a:t>
            </a:r>
          </a:p>
          <a:p>
            <a:r>
              <a:rPr lang="de-DE" dirty="0"/>
              <a:t>(Data Science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D9DD696E-7469-624C-AEFE-1BD3582C20D3}"/>
              </a:ext>
            </a:extLst>
          </p:cNvPr>
          <p:cNvCxnSpPr>
            <a:cxnSpLocks/>
            <a:stCxn id="17" idx="1"/>
            <a:endCxn id="29" idx="1"/>
          </p:cNvCxnSpPr>
          <p:nvPr/>
        </p:nvCxnSpPr>
        <p:spPr>
          <a:xfrm rot="10800000" flipV="1">
            <a:off x="620327" y="1708273"/>
            <a:ext cx="12700" cy="1514564"/>
          </a:xfrm>
          <a:prstGeom prst="bentConnector3">
            <a:avLst>
              <a:gd name="adj1" fmla="val 1800000"/>
            </a:avLst>
          </a:prstGeom>
          <a:ln w="15875">
            <a:solidFill>
              <a:srgbClr val="679E9B"/>
            </a:solidFill>
            <a:miter lim="800000"/>
            <a:headEnd type="arrow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44E6F81-7879-B145-80A8-48D185E099DD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7138211" y="2477377"/>
            <a:ext cx="382849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7" name="Inhaltsplatzhalter 56">
            <a:extLst>
              <a:ext uri="{FF2B5EF4-FFF2-40B4-BE49-F238E27FC236}">
                <a16:creationId xmlns:a16="http://schemas.microsoft.com/office/drawing/2014/main" id="{E1A2220D-2A1B-6544-BF15-766D299EE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1" y="4192369"/>
            <a:ext cx="4357721" cy="24263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>
                <a:solidFill>
                  <a:schemeClr val="tx1"/>
                </a:solidFill>
              </a:rPr>
              <a:t>Handhabung von Big Data, z.B. </a:t>
            </a:r>
            <a:r>
              <a:rPr lang="de-DE" sz="1600" b="0" dirty="0" err="1">
                <a:solidFill>
                  <a:schemeClr val="tx1"/>
                </a:solidFill>
              </a:rPr>
              <a:t>Walmart</a:t>
            </a:r>
            <a:r>
              <a:rPr lang="de-DE" sz="1600" b="0" dirty="0">
                <a:solidFill>
                  <a:schemeClr val="tx1"/>
                </a:solidFill>
              </a:rPr>
              <a:t>: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ousands of </a:t>
            </a:r>
            <a:r>
              <a:rPr lang="en" sz="1400" i="1" dirty="0">
                <a:solidFill>
                  <a:srgbClr val="679E9B"/>
                </a:solidFill>
              </a:rPr>
              <a:t>Petabytes</a:t>
            </a:r>
            <a:r>
              <a:rPr lang="en" sz="1400" b="1" i="1" dirty="0"/>
              <a:t> </a:t>
            </a:r>
            <a:r>
              <a:rPr lang="en" sz="1400" i="1" dirty="0"/>
              <a:t>of customer data of 145 million Americans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They create 2,500,000 Gigabytes of data </a:t>
            </a:r>
            <a:r>
              <a:rPr lang="en" sz="1400" i="1" dirty="0">
                <a:solidFill>
                  <a:srgbClr val="679E9B"/>
                </a:solidFill>
              </a:rPr>
              <a:t>every hour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en" sz="1400" i="1" dirty="0"/>
              <a:t>Combine </a:t>
            </a:r>
            <a:r>
              <a:rPr lang="en" sz="1400" i="1" dirty="0">
                <a:solidFill>
                  <a:srgbClr val="679E9B"/>
                </a:solidFill>
              </a:rPr>
              <a:t>200 sources</a:t>
            </a:r>
            <a:r>
              <a:rPr lang="en" sz="1400" i="1" dirty="0"/>
              <a:t>, e.g. meteorological data, economic data, etc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 hangingPunct="0"/>
            <a:r>
              <a:rPr lang="de-DE" dirty="0"/>
              <a:t>Warum ist programmieren für empirische Untersuchungen wichtig?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23F6987-926E-494E-B341-B9B40A80ED7E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4399929" y="2477377"/>
            <a:ext cx="1759632" cy="2967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A1EFB9E8-A001-2949-B4A9-40CD0E996BE6}"/>
              </a:ext>
            </a:extLst>
          </p:cNvPr>
          <p:cNvSpPr/>
          <p:nvPr/>
        </p:nvSpPr>
        <p:spPr>
          <a:xfrm>
            <a:off x="3421279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Daten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23B90A3-1666-5747-8822-6370C998E5F5}"/>
              </a:ext>
            </a:extLst>
          </p:cNvPr>
          <p:cNvSpPr/>
          <p:nvPr/>
        </p:nvSpPr>
        <p:spPr>
          <a:xfrm>
            <a:off x="6159561" y="2237090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Wis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A41B8F-274F-8241-8B2A-A7122599002B}"/>
              </a:ext>
            </a:extLst>
          </p:cNvPr>
          <p:cNvSpPr txBox="1"/>
          <p:nvPr/>
        </p:nvSpPr>
        <p:spPr>
          <a:xfrm>
            <a:off x="4560638" y="2228261"/>
            <a:ext cx="14382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Statistische Method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9FBEC-976D-CE4E-88DB-161F5874D2C7}"/>
              </a:ext>
            </a:extLst>
          </p:cNvPr>
          <p:cNvSpPr txBox="1"/>
          <p:nvPr/>
        </p:nvSpPr>
        <p:spPr>
          <a:xfrm>
            <a:off x="4746586" y="2482002"/>
            <a:ext cx="10663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Programmieren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EEF647BE-363D-0F46-B8E6-4CD22FBD92AA}"/>
              </a:ext>
            </a:extLst>
          </p:cNvPr>
          <p:cNvSpPr/>
          <p:nvPr/>
        </p:nvSpPr>
        <p:spPr>
          <a:xfrm>
            <a:off x="7521060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Aktio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55C15C7-B2B5-1741-AC26-9559823A5872}"/>
              </a:ext>
            </a:extLst>
          </p:cNvPr>
          <p:cNvSpPr/>
          <p:nvPr/>
        </p:nvSpPr>
        <p:spPr>
          <a:xfrm>
            <a:off x="2020803" y="223412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Hypothes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94E0BD35-C6B9-4D48-AA88-A450F1BC90AC}"/>
              </a:ext>
            </a:extLst>
          </p:cNvPr>
          <p:cNvSpPr/>
          <p:nvPr/>
        </p:nvSpPr>
        <p:spPr>
          <a:xfrm>
            <a:off x="620327" y="1465019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Theorie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64A7D633-B541-DE43-A637-C0D0A0D9F3EF}"/>
              </a:ext>
            </a:extLst>
          </p:cNvPr>
          <p:cNvSpPr/>
          <p:nvPr/>
        </p:nvSpPr>
        <p:spPr>
          <a:xfrm>
            <a:off x="620327" y="2222301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ea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B599735-74D1-3948-B258-DBC38346D375}"/>
              </a:ext>
            </a:extLst>
          </p:cNvPr>
          <p:cNvSpPr/>
          <p:nvPr/>
        </p:nvSpPr>
        <p:spPr>
          <a:xfrm>
            <a:off x="7149934" y="2086914"/>
            <a:ext cx="1570290" cy="769104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30F4857A-250D-1F40-B969-0D0599A1C154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999453" y="2477377"/>
            <a:ext cx="421826" cy="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FC32370B-E072-994B-9D53-D5B7D8F7B3E3}"/>
              </a:ext>
            </a:extLst>
          </p:cNvPr>
          <p:cNvSpPr/>
          <p:nvPr/>
        </p:nvSpPr>
        <p:spPr>
          <a:xfrm>
            <a:off x="620327" y="2979583"/>
            <a:ext cx="978650" cy="48650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Modell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50D8C-9489-A54B-A3C6-F8EF64DDFD66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598977" y="1708273"/>
            <a:ext cx="421826" cy="76910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D71AFC4-3A1D-3A4C-908A-47D328D78000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1598977" y="2465555"/>
            <a:ext cx="421826" cy="11822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2A3B1E9-3AC1-BB49-9F06-8CC16DFE061D}"/>
              </a:ext>
            </a:extLst>
          </p:cNvPr>
          <p:cNvCxnSpPr>
            <a:cxnSpLocks/>
            <a:stCxn id="29" idx="3"/>
            <a:endCxn id="16" idx="1"/>
          </p:cNvCxnSpPr>
          <p:nvPr/>
        </p:nvCxnSpPr>
        <p:spPr>
          <a:xfrm flipV="1">
            <a:off x="1598977" y="2477377"/>
            <a:ext cx="421826" cy="745460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D34A217B-482B-4741-B76F-92A355761EE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1109652" y="1951527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7C9AAD0-0DCE-894F-AB11-6ECAA79DBB4E}"/>
              </a:ext>
            </a:extLst>
          </p:cNvPr>
          <p:cNvCxnSpPr>
            <a:cxnSpLocks/>
            <a:stCxn id="18" idx="2"/>
            <a:endCxn id="29" idx="0"/>
          </p:cNvCxnSpPr>
          <p:nvPr/>
        </p:nvCxnSpPr>
        <p:spPr>
          <a:xfrm>
            <a:off x="1109652" y="2708809"/>
            <a:ext cx="0" cy="270774"/>
          </a:xfrm>
          <a:prstGeom prst="straightConnector1">
            <a:avLst/>
          </a:prstGeom>
          <a:ln w="15875">
            <a:solidFill>
              <a:srgbClr val="679E9B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B2258F2B-067C-7248-BDB2-A5667342BAEF}"/>
              </a:ext>
            </a:extLst>
          </p:cNvPr>
          <p:cNvSpPr/>
          <p:nvPr/>
        </p:nvSpPr>
        <p:spPr>
          <a:xfrm>
            <a:off x="285618" y="1380192"/>
            <a:ext cx="1731894" cy="2182388"/>
          </a:xfrm>
          <a:prstGeom prst="rect">
            <a:avLst/>
          </a:prstGeom>
          <a:solidFill>
            <a:schemeClr val="bg1">
              <a:alpha val="73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0D2E5509-B258-D94C-8A6F-7079A2E0AEAE}"/>
              </a:ext>
            </a:extLst>
          </p:cNvPr>
          <p:cNvSpPr/>
          <p:nvPr/>
        </p:nvSpPr>
        <p:spPr>
          <a:xfrm>
            <a:off x="130997" y="1296999"/>
            <a:ext cx="8727385" cy="2526896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4C5D231-3E07-1E48-B40E-E8983A8ABCE9}"/>
              </a:ext>
            </a:extLst>
          </p:cNvPr>
          <p:cNvSpPr txBox="1"/>
          <p:nvPr/>
        </p:nvSpPr>
        <p:spPr>
          <a:xfrm>
            <a:off x="72382" y="1038502"/>
            <a:ext cx="3672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Scientific </a:t>
            </a:r>
            <a:r>
              <a:rPr lang="de-DE" sz="1200" dirty="0" err="1">
                <a:latin typeface="+mn-lt"/>
                <a:cs typeface="Arial" panose="020B0604020202020204" pitchFamily="34" charset="0"/>
              </a:rPr>
              <a:t>Process</a:t>
            </a:r>
            <a:r>
              <a:rPr lang="de-DE" sz="1200" dirty="0">
                <a:latin typeface="+mn-lt"/>
                <a:cs typeface="Arial" panose="020B0604020202020204" pitchFamily="34" charset="0"/>
              </a:rPr>
              <a:t> (Wissensgenerierender Prozess)</a:t>
            </a:r>
          </a:p>
        </p:txBody>
      </p:sp>
      <p:sp>
        <p:nvSpPr>
          <p:cNvPr id="58" name="Inhaltsplatzhalter 56">
            <a:extLst>
              <a:ext uri="{FF2B5EF4-FFF2-40B4-BE49-F238E27FC236}">
                <a16:creationId xmlns:a16="http://schemas.microsoft.com/office/drawing/2014/main" id="{9A0F29DF-6E33-6C4F-BAB8-9B682D3EA31D}"/>
              </a:ext>
            </a:extLst>
          </p:cNvPr>
          <p:cNvSpPr txBox="1">
            <a:spLocks/>
          </p:cNvSpPr>
          <p:nvPr/>
        </p:nvSpPr>
        <p:spPr bwMode="auto">
          <a:xfrm>
            <a:off x="4572000" y="4192369"/>
            <a:ext cx="4357721" cy="24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271463" indent="-27146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  <a:latin typeface="+mn-lt"/>
              </a:defRPr>
            </a:lvl3pPr>
            <a:lvl4pPr marL="268288" indent="0" algn="just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541338" indent="-2698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  <a:latin typeface="+mn-lt"/>
              </a:defRPr>
            </a:lvl5pPr>
            <a:lvl6pPr marL="541338" indent="0" algn="just" rtl="0" eaLnBrk="1" fontAlgn="base" hangingPunct="1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tx1"/>
                </a:solidFill>
              </a:rPr>
              <a:t>Komplexe statistische Methoden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b="0" kern="0" dirty="0">
                <a:solidFill>
                  <a:srgbClr val="679E9B"/>
                </a:solidFill>
              </a:rPr>
              <a:t>Aufwändigere Modellschätzungen </a:t>
            </a:r>
            <a:r>
              <a:rPr lang="de-DE" sz="1400" b="0" kern="0" dirty="0">
                <a:solidFill>
                  <a:schemeClr val="tx1"/>
                </a:solidFill>
              </a:rPr>
              <a:t>möglich (z.B.: </a:t>
            </a:r>
            <a:r>
              <a:rPr lang="de-DE" sz="1400" b="0" kern="0" dirty="0" err="1">
                <a:solidFill>
                  <a:schemeClr val="tx1"/>
                </a:solidFill>
              </a:rPr>
              <a:t>Bayessche</a:t>
            </a:r>
            <a:r>
              <a:rPr lang="de-DE" sz="1400" b="0" kern="0" dirty="0">
                <a:solidFill>
                  <a:schemeClr val="tx1"/>
                </a:solidFill>
              </a:rPr>
              <a:t> Modelle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>
                <a:solidFill>
                  <a:srgbClr val="679E9B"/>
                </a:solidFill>
              </a:rPr>
              <a:t>KI-Modelle</a:t>
            </a:r>
            <a:r>
              <a:rPr lang="de-DE" sz="1400" kern="0" dirty="0"/>
              <a:t> auf Basis von Netzwerken (z.B.: </a:t>
            </a:r>
            <a:r>
              <a:rPr lang="de-DE" sz="1400" kern="0" dirty="0" err="1"/>
              <a:t>Deep</a:t>
            </a:r>
            <a:r>
              <a:rPr lang="de-DE" sz="1400" kern="0" dirty="0"/>
              <a:t> </a:t>
            </a:r>
            <a:r>
              <a:rPr lang="de-DE" sz="1400" kern="0" dirty="0" err="1"/>
              <a:t>Neural</a:t>
            </a:r>
            <a:r>
              <a:rPr lang="de-DE" sz="1400" kern="0" dirty="0"/>
              <a:t> Networks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r>
              <a:rPr lang="de-DE" sz="1400" kern="0" dirty="0"/>
              <a:t>Erst durch Computer ermöglichte statistische Verfahren (z.B.: </a:t>
            </a:r>
            <a:r>
              <a:rPr lang="de-DE" sz="1400" kern="0" dirty="0">
                <a:solidFill>
                  <a:srgbClr val="679E9B"/>
                </a:solidFill>
              </a:rPr>
              <a:t>Baumbasierte Modelle</a:t>
            </a:r>
            <a:r>
              <a:rPr lang="de-DE" sz="1400" kern="0" dirty="0"/>
              <a:t>)</a:t>
            </a: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  <a:p>
            <a:pPr marL="614363" lvl="2" indent="-342900">
              <a:buFont typeface="Arial" panose="020B0604020202020204" pitchFamily="34" charset="0"/>
              <a:buChar char="•"/>
            </a:pPr>
            <a:endParaRPr lang="de-DE" sz="1400" b="0" kern="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16F6926-E9AD-814B-B5D0-67E2F18BFE17}"/>
              </a:ext>
            </a:extLst>
          </p:cNvPr>
          <p:cNvCxnSpPr>
            <a:cxnSpLocks/>
            <a:stCxn id="9" idx="2"/>
            <a:endCxn id="57" idx="0"/>
          </p:cNvCxnSpPr>
          <p:nvPr/>
        </p:nvCxnSpPr>
        <p:spPr>
          <a:xfrm flipH="1">
            <a:off x="2204312" y="2720631"/>
            <a:ext cx="1706292" cy="1471738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706E8B-6958-EF48-A53D-29D6C79DA838}"/>
              </a:ext>
            </a:extLst>
          </p:cNvPr>
          <p:cNvCxnSpPr>
            <a:cxnSpLocks/>
            <a:stCxn id="12" idx="2"/>
            <a:endCxn id="58" idx="0"/>
          </p:cNvCxnSpPr>
          <p:nvPr/>
        </p:nvCxnSpPr>
        <p:spPr>
          <a:xfrm>
            <a:off x="5279745" y="2728223"/>
            <a:ext cx="1471116" cy="1464146"/>
          </a:xfrm>
          <a:prstGeom prst="straightConnector1">
            <a:avLst/>
          </a:prstGeom>
          <a:ln w="15875">
            <a:solidFill>
              <a:srgbClr val="679E9B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1C044EF5-4A23-4A46-ACFB-25447CEE0333}"/>
              </a:ext>
            </a:extLst>
          </p:cNvPr>
          <p:cNvSpPr/>
          <p:nvPr/>
        </p:nvSpPr>
        <p:spPr>
          <a:xfrm>
            <a:off x="46036" y="3833354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C05C8DE-0585-AD48-9B17-E1CFED6CA85A}"/>
              </a:ext>
            </a:extLst>
          </p:cNvPr>
          <p:cNvSpPr txBox="1"/>
          <p:nvPr/>
        </p:nvSpPr>
        <p:spPr>
          <a:xfrm>
            <a:off x="649030" y="3530782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n-lt"/>
                <a:cs typeface="Arial" panose="020B0604020202020204" pitchFamily="34" charset="0"/>
              </a:rPr>
              <a:t>Fragestellung</a:t>
            </a:r>
          </a:p>
        </p:txBody>
      </p:sp>
    </p:spTree>
    <p:extLst>
      <p:ext uri="{BB962C8B-B14F-4D97-AF65-F5344CB8AC3E}">
        <p14:creationId xmlns:p14="http://schemas.microsoft.com/office/powerpoint/2010/main" val="3115862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rum verwenden wir R als Programmiersprache?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A2CF7888-5C54-9F43-B7D5-8544C454C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2" y="971550"/>
            <a:ext cx="8344826" cy="537749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„Der Prozess, eine komplexe Aufgabe auf eine Reihe einfacher Anweisungen zu reduzieren - genau darum geht es beim Programmieren -,ist eine Fähigkeit, die in vielen Aspekten des modernen Lebens nützlich ist, nicht nur für professionelle Informatiker und Programmierer.“ </a:t>
            </a:r>
          </a:p>
          <a:p>
            <a:pPr>
              <a:spcBef>
                <a:spcPts val="600"/>
              </a:spcBef>
            </a:pP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Facebooks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 Forschungschef Yann </a:t>
            </a:r>
            <a:r>
              <a:rPr lang="de-DE" sz="1200" b="0" dirty="0" err="1">
                <a:solidFill>
                  <a:schemeClr val="bg1">
                    <a:lumMod val="50000"/>
                  </a:schemeClr>
                </a:solidFill>
              </a:rPr>
              <a:t>LeCun</a:t>
            </a:r>
            <a:r>
              <a:rPr lang="de-DE" sz="1200" b="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ctr"/>
            <a:endParaRPr lang="de-DE" sz="1800" b="0" dirty="0">
              <a:solidFill>
                <a:schemeClr val="tx1"/>
              </a:solidFill>
            </a:endParaRPr>
          </a:p>
          <a:p>
            <a:pPr algn="ctr"/>
            <a:r>
              <a:rPr lang="de-DE" sz="1800" b="0" dirty="0">
                <a:solidFill>
                  <a:schemeClr val="tx1"/>
                </a:solidFill>
              </a:rPr>
              <a:t>R wurde von Statistikern für Statiker entwickelt</a:t>
            </a:r>
          </a:p>
          <a:p>
            <a:endParaRPr lang="de-DE" sz="5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Syntax eher </a:t>
            </a:r>
            <a:r>
              <a:rPr lang="de-DE" sz="1800" b="0" dirty="0">
                <a:solidFill>
                  <a:srgbClr val="679E9B"/>
                </a:solidFill>
              </a:rPr>
              <a:t>menschlich</a:t>
            </a:r>
            <a:r>
              <a:rPr lang="de-DE" sz="1800" b="0" dirty="0">
                <a:solidFill>
                  <a:schemeClr val="tx1"/>
                </a:solidFill>
              </a:rPr>
              <a:t>, weniger maschinell (00010100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Große &amp; hilfsbereite </a:t>
            </a:r>
            <a:r>
              <a:rPr lang="de-DE" sz="1800" b="0" dirty="0">
                <a:solidFill>
                  <a:srgbClr val="679E9B"/>
                </a:solidFill>
              </a:rPr>
              <a:t>Community</a:t>
            </a:r>
            <a:r>
              <a:rPr lang="de-DE" sz="1800" b="0" dirty="0">
                <a:solidFill>
                  <a:schemeClr val="tx1"/>
                </a:solidFill>
              </a:rPr>
              <a:t> in Unternehmen und Wisse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>
                <a:solidFill>
                  <a:schemeClr val="tx1"/>
                </a:solidFill>
              </a:rPr>
              <a:t>Frei zugänglich und kostenlos nutzbar (</a:t>
            </a:r>
            <a:r>
              <a:rPr lang="de-DE" sz="1800" b="0" dirty="0">
                <a:solidFill>
                  <a:srgbClr val="679E9B"/>
                </a:solidFill>
              </a:rPr>
              <a:t>open </a:t>
            </a:r>
            <a:r>
              <a:rPr lang="de-DE" sz="1800" b="0" dirty="0" err="1">
                <a:solidFill>
                  <a:srgbClr val="679E9B"/>
                </a:solidFill>
              </a:rPr>
              <a:t>source</a:t>
            </a:r>
            <a:r>
              <a:rPr lang="de-DE" sz="1800" b="0" dirty="0">
                <a:solidFill>
                  <a:schemeClr val="tx1"/>
                </a:solidFill>
              </a:rPr>
              <a:t>)</a:t>
            </a:r>
          </a:p>
          <a:p>
            <a:endParaRPr lang="de-DE" sz="1800" b="0" dirty="0">
              <a:solidFill>
                <a:schemeClr val="tx1"/>
              </a:solidFill>
            </a:endParaRPr>
          </a:p>
          <a:p>
            <a:endParaRPr lang="de-DE" sz="1800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DCFBA0C-7C2D-F847-BC7F-52D0917AC7CF}"/>
              </a:ext>
            </a:extLst>
          </p:cNvPr>
          <p:cNvSpPr txBox="1"/>
          <p:nvPr/>
        </p:nvSpPr>
        <p:spPr bwMode="auto">
          <a:xfrm>
            <a:off x="1570892" y="-820615"/>
            <a:ext cx="0" cy="0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tabLst/>
            </a:pPr>
            <a:endParaRPr kumimoji="0" lang="de-DE" sz="14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27082B-2FE2-D044-8AB4-40C9C51FF670}"/>
              </a:ext>
            </a:extLst>
          </p:cNvPr>
          <p:cNvSpPr/>
          <p:nvPr/>
        </p:nvSpPr>
        <p:spPr>
          <a:xfrm>
            <a:off x="1453661" y="2914782"/>
            <a:ext cx="5474677" cy="56697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4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258" y="3683480"/>
            <a:ext cx="6786652" cy="1250830"/>
          </a:xfrm>
        </p:spPr>
        <p:txBody>
          <a:bodyPr/>
          <a:lstStyle/>
          <a:p>
            <a:r>
              <a:rPr lang="de-DE" dirty="0"/>
              <a:t>2 Verwendung von R und </a:t>
            </a:r>
          </a:p>
          <a:p>
            <a:r>
              <a:rPr lang="de-DE" dirty="0"/>
              <a:t>seinen Komponenten</a:t>
            </a:r>
          </a:p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DD02EB1-096F-7449-BF94-0C0354F1E6B2}"/>
              </a:ext>
            </a:extLst>
          </p:cNvPr>
          <p:cNvSpPr/>
          <p:nvPr/>
        </p:nvSpPr>
        <p:spPr>
          <a:xfrm>
            <a:off x="601033" y="1679622"/>
            <a:ext cx="1895982" cy="1126591"/>
          </a:xfrm>
          <a:prstGeom prst="roundRect">
            <a:avLst>
              <a:gd name="adj" fmla="val 11464"/>
            </a:avLst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	</a:t>
            </a:r>
            <a:endParaRPr lang="de-DE" sz="500" b="1" dirty="0">
              <a:cs typeface="Arial" panose="020B0604020202020204" pitchFamily="34" charset="0"/>
            </a:endParaRPr>
          </a:p>
          <a:p>
            <a:pPr algn="ctr"/>
            <a:r>
              <a:rPr lang="de-DE" sz="1000" b="1" dirty="0">
                <a:cs typeface="Arial" panose="020B0604020202020204" pitchFamily="34" charset="0"/>
              </a:rPr>
              <a:t>                   </a:t>
            </a:r>
            <a:r>
              <a:rPr lang="de-DE" sz="1000" b="1" dirty="0" err="1">
                <a:cs typeface="Arial" panose="020B0604020202020204" pitchFamily="34" charset="0"/>
              </a:rPr>
              <a:t>RStudio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F9B908-E71E-B940-BD08-92A3DB170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9361" y="971550"/>
            <a:ext cx="4951271" cy="5377492"/>
          </a:xfrm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Statistik</a:t>
            </a:r>
            <a:r>
              <a:rPr lang="de-DE" dirty="0"/>
              <a:t> ist das </a:t>
            </a:r>
            <a:r>
              <a:rPr lang="de-DE" dirty="0">
                <a:solidFill>
                  <a:schemeClr val="accent1"/>
                </a:solidFill>
              </a:rPr>
              <a:t>Auto</a:t>
            </a:r>
            <a:r>
              <a:rPr lang="de-DE" dirty="0"/>
              <a:t> mit dem der Weg von der Fragestellung zum Wissen bestritten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R</a:t>
            </a:r>
            <a:r>
              <a:rPr lang="de-DE" dirty="0"/>
              <a:t> ist ein </a:t>
            </a:r>
            <a:r>
              <a:rPr lang="de-DE" dirty="0">
                <a:solidFill>
                  <a:schemeClr val="accent1"/>
                </a:solidFill>
              </a:rPr>
              <a:t>Motor</a:t>
            </a:r>
            <a:r>
              <a:rPr lang="de-DE" dirty="0"/>
              <a:t>, der das Auto antreib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Rstudio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das </a:t>
            </a:r>
            <a:r>
              <a:rPr lang="de-DE" dirty="0">
                <a:solidFill>
                  <a:schemeClr val="accent1"/>
                </a:solidFill>
              </a:rPr>
              <a:t>Cockpit</a:t>
            </a:r>
            <a:r>
              <a:rPr lang="de-DE" dirty="0"/>
              <a:t> mit dem der Motor gesteuert werden kan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accent1"/>
                </a:solidFill>
              </a:rPr>
              <a:t>mosaic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/>
              <a:t>ist eine </a:t>
            </a:r>
            <a:r>
              <a:rPr lang="de-DE" dirty="0">
                <a:solidFill>
                  <a:schemeClr val="accent1"/>
                </a:solidFill>
              </a:rPr>
              <a:t>Zusatzausstattung</a:t>
            </a:r>
            <a:r>
              <a:rPr lang="de-DE" dirty="0"/>
              <a:t> um die Motorsteuerung zu vereinfachen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as gehört zu R und seinem Universum?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2050E38D-3F98-8B4F-AF11-C0F0D3E5E561}"/>
              </a:ext>
            </a:extLst>
          </p:cNvPr>
          <p:cNvSpPr/>
          <p:nvPr/>
        </p:nvSpPr>
        <p:spPr>
          <a:xfrm>
            <a:off x="707821" y="1768133"/>
            <a:ext cx="565351" cy="460438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cs typeface="Arial" panose="020B0604020202020204" pitchFamily="34" charset="0"/>
              </a:rPr>
              <a:t>R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1A6C6494-2406-D444-A403-442159363380}"/>
              </a:ext>
            </a:extLst>
          </p:cNvPr>
          <p:cNvSpPr/>
          <p:nvPr/>
        </p:nvSpPr>
        <p:spPr>
          <a:xfrm rot="16200000">
            <a:off x="445083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mosaic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2E66FBA0-A8CF-FB4B-A6A8-62E4E14056B8}"/>
              </a:ext>
            </a:extLst>
          </p:cNvPr>
          <p:cNvSpPr/>
          <p:nvPr/>
        </p:nvSpPr>
        <p:spPr>
          <a:xfrm rot="16200000">
            <a:off x="899239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cs typeface="Arial" panose="020B0604020202020204" pitchFamily="34" charset="0"/>
              </a:rPr>
              <a:t>dplyr</a:t>
            </a:r>
            <a:endParaRPr lang="de-DE" sz="1000" b="1" dirty="0">
              <a:cs typeface="Arial" panose="020B0604020202020204" pitchFamily="34" charset="0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2CC64915-A2BD-154E-A46E-C7FA0FA26B84}"/>
              </a:ext>
            </a:extLst>
          </p:cNvPr>
          <p:cNvSpPr/>
          <p:nvPr/>
        </p:nvSpPr>
        <p:spPr>
          <a:xfrm rot="16200000">
            <a:off x="1353394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Paket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B1ADCB-7C08-4D41-B24B-5001786C2DED}"/>
              </a:ext>
            </a:extLst>
          </p:cNvPr>
          <p:cNvSpPr/>
          <p:nvPr/>
        </p:nvSpPr>
        <p:spPr>
          <a:xfrm>
            <a:off x="339969" y="1258842"/>
            <a:ext cx="2461846" cy="246909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e-DE" sz="3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e-DE" sz="1100" dirty="0">
                <a:solidFill>
                  <a:schemeClr val="tx1"/>
                </a:solidFill>
              </a:rPr>
              <a:t>PC oder Clou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6C90BC3-EF98-0641-B94F-93D57EF28A3D}"/>
              </a:ext>
            </a:extLst>
          </p:cNvPr>
          <p:cNvSpPr txBox="1"/>
          <p:nvPr/>
        </p:nvSpPr>
        <p:spPr>
          <a:xfrm>
            <a:off x="245327" y="981843"/>
            <a:ext cx="107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+mn-lt"/>
                <a:cs typeface="Arial" panose="020B0604020202020204" pitchFamily="34" charset="0"/>
              </a:rPr>
              <a:t>R-Universum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28A13AB-419B-C847-B9BC-C1AE189CF951}"/>
              </a:ext>
            </a:extLst>
          </p:cNvPr>
          <p:cNvSpPr/>
          <p:nvPr/>
        </p:nvSpPr>
        <p:spPr>
          <a:xfrm rot="16200000">
            <a:off x="1785822" y="2923812"/>
            <a:ext cx="871862" cy="205710"/>
          </a:xfrm>
          <a:prstGeom prst="roundRect">
            <a:avLst/>
          </a:prstGeom>
          <a:solidFill>
            <a:srgbClr val="679E9B">
              <a:alpha val="90000"/>
            </a:srgbClr>
          </a:solidFill>
          <a:ln>
            <a:solidFill>
              <a:srgbClr val="186B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cs typeface="Arial" panose="020B0604020202020204" pitchFamily="34" charset="0"/>
              </a:rPr>
              <a:t>…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F4B30A-2A67-F74B-895F-89F1C93BF618}"/>
              </a:ext>
            </a:extLst>
          </p:cNvPr>
          <p:cNvSpPr/>
          <p:nvPr/>
        </p:nvSpPr>
        <p:spPr>
          <a:xfrm>
            <a:off x="245327" y="3739570"/>
            <a:ext cx="17992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2" indent="0">
              <a:buNone/>
            </a:pP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(Quelle: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Eigene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" sz="1000" dirty="0" err="1">
                <a:solidFill>
                  <a:schemeClr val="bg1">
                    <a:lumMod val="50000"/>
                  </a:schemeClr>
                </a:solidFill>
              </a:rPr>
              <a:t>Darstellung</a:t>
            </a:r>
            <a:r>
              <a:rPr lang="en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A7FDA1D-44F2-F444-8B4F-6CCE0DA48D93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983869" y="3026667"/>
            <a:ext cx="248446" cy="0"/>
          </a:xfrm>
          <a:prstGeom prst="line">
            <a:avLst/>
          </a:prstGeom>
          <a:ln w="53975">
            <a:solidFill>
              <a:srgbClr val="679E9B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4783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EC237DDF-1B7D-5441-A02E-85DE3FCFD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0" dirty="0">
                <a:solidFill>
                  <a:schemeClr val="tx1"/>
                </a:solidFill>
              </a:rPr>
              <a:t>Über die </a:t>
            </a:r>
            <a:r>
              <a:rPr lang="de-DE" sz="1800" b="0" dirty="0" err="1">
                <a:solidFill>
                  <a:schemeClr val="tx1"/>
                </a:solidFill>
              </a:rPr>
              <a:t>RStudio</a:t>
            </a:r>
            <a:r>
              <a:rPr lang="de-DE" sz="1800" b="0" dirty="0">
                <a:solidFill>
                  <a:schemeClr val="tx1"/>
                </a:solidFill>
              </a:rPr>
              <a:t> IDE: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11113"/>
            <a:r>
              <a:rPr lang="de-DE" dirty="0"/>
              <a:t>Wie bediene ich R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15D26C-F576-854A-85EB-5F9573DF36EF}"/>
              </a:ext>
            </a:extLst>
          </p:cNvPr>
          <p:cNvSpPr txBox="1"/>
          <p:nvPr/>
        </p:nvSpPr>
        <p:spPr>
          <a:xfrm>
            <a:off x="272028" y="5506707"/>
            <a:ext cx="8322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Konsol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1263FEA-81F8-0A4A-A8D6-C43DDB3EA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848" y="1557512"/>
            <a:ext cx="6612304" cy="4256972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3C42E8A7-296A-3948-A6B4-94827A411476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1104307" y="4489938"/>
            <a:ext cx="686393" cy="1170658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F440CEAA-E34E-0247-9F1C-0D741E329364}"/>
              </a:ext>
            </a:extLst>
          </p:cNvPr>
          <p:cNvSpPr txBox="1"/>
          <p:nvPr/>
        </p:nvSpPr>
        <p:spPr>
          <a:xfrm>
            <a:off x="272027" y="2278972"/>
            <a:ext cx="6527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Editor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55E9F35-27CA-8540-8F22-5BAE3B9FC039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924770" y="2432860"/>
            <a:ext cx="865930" cy="1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EDD7A90-299C-3143-944C-DEF739395DB2}"/>
              </a:ext>
            </a:extLst>
          </p:cNvPr>
          <p:cNvSpPr txBox="1"/>
          <p:nvPr/>
        </p:nvSpPr>
        <p:spPr>
          <a:xfrm>
            <a:off x="5371566" y="1114873"/>
            <a:ext cx="18870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n-lt"/>
                <a:cs typeface="Arial" panose="020B0604020202020204" pitchFamily="34" charset="0"/>
              </a:rPr>
              <a:t>Umgebung &amp; Histori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BED6C88-2224-FA4B-BC4A-35F74F8CCED6}"/>
              </a:ext>
            </a:extLst>
          </p:cNvPr>
          <p:cNvCxnSpPr>
            <a:cxnSpLocks/>
            <a:stCxn id="17" idx="2"/>
          </p:cNvCxnSpPr>
          <p:nvPr/>
        </p:nvCxnSpPr>
        <p:spPr>
          <a:xfrm flipH="1">
            <a:off x="5908431" y="1422650"/>
            <a:ext cx="406663" cy="878674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F6F1678-811C-374E-9870-239B40E8154A}"/>
              </a:ext>
            </a:extLst>
          </p:cNvPr>
          <p:cNvSpPr txBox="1"/>
          <p:nvPr/>
        </p:nvSpPr>
        <p:spPr>
          <a:xfrm>
            <a:off x="7878152" y="3429000"/>
            <a:ext cx="1222129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latin typeface="+mn-lt"/>
                <a:cs typeface="Arial" panose="020B0604020202020204" pitchFamily="34" charset="0"/>
              </a:rPr>
              <a:t>Misc</a:t>
            </a:r>
            <a:r>
              <a:rPr lang="de-DE" sz="1400" dirty="0">
                <a:latin typeface="+mn-lt"/>
                <a:cs typeface="Arial" panose="020B0604020202020204" pitchFamily="34" charset="0"/>
              </a:rPr>
              <a:t>: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Datei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Abbildungen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Paket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Hilf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de-DE" sz="1200" dirty="0">
                <a:latin typeface="+mn-lt"/>
                <a:cs typeface="Arial" panose="020B0604020202020204" pitchFamily="34" charset="0"/>
              </a:rPr>
              <a:t>Viewer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326D172-0C70-AE46-A86B-C361DF19E615}"/>
              </a:ext>
            </a:extLst>
          </p:cNvPr>
          <p:cNvCxnSpPr>
            <a:cxnSpLocks/>
            <a:stCxn id="21" idx="1"/>
          </p:cNvCxnSpPr>
          <p:nvPr/>
        </p:nvCxnSpPr>
        <p:spPr>
          <a:xfrm flipH="1" flipV="1">
            <a:off x="6315094" y="3950677"/>
            <a:ext cx="1563058" cy="93876"/>
          </a:xfrm>
          <a:prstGeom prst="straightConnector1">
            <a:avLst/>
          </a:prstGeom>
          <a:ln w="15875">
            <a:solidFill>
              <a:srgbClr val="679E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500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59</Words>
  <Application>Microsoft Macintosh PowerPoint</Application>
  <PresentationFormat>Bildschirmpräsentation (4:3)</PresentationFormat>
  <Paragraphs>305</Paragraphs>
  <Slides>17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1" baseType="lpstr">
      <vt:lpstr>Arial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R-Training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R-Training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699</cp:revision>
  <cp:lastPrinted>2013-02-22T13:48:11Z</cp:lastPrinted>
  <dcterms:created xsi:type="dcterms:W3CDTF">2017-12-20T06:53:29Z</dcterms:created>
  <dcterms:modified xsi:type="dcterms:W3CDTF">2019-05-03T17:57:57Z</dcterms:modified>
  <cp:version>20140523</cp:version>
</cp:coreProperties>
</file>